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sldIdLst>
    <p:sldId id="256" r:id="rId2"/>
    <p:sldId id="270" r:id="rId3"/>
    <p:sldId id="271" r:id="rId4"/>
    <p:sldId id="272" r:id="rId5"/>
    <p:sldId id="262" r:id="rId6"/>
    <p:sldId id="258" r:id="rId7"/>
    <p:sldId id="274" r:id="rId8"/>
    <p:sldId id="273" r:id="rId9"/>
  </p:sldIdLst>
  <p:sldSz cx="9144000" cy="6858000" type="screen4x3"/>
  <p:notesSz cx="6797675" cy="9926638"/>
  <p:embeddedFontLst>
    <p:embeddedFont>
      <p:font typeface="_Entypo" panose="020B0604020202020204" charset="0"/>
      <p:regular r:id="rId10"/>
    </p:embeddedFon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Myriad Pro Cond" panose="020B0506030403020204" charset="0"/>
      <p:regular r:id="rId15"/>
      <p:bold r:id="rId16"/>
      <p:italic r:id="rId17"/>
      <p:boldItalic r:id="rId18"/>
    </p:embeddedFont>
    <p:embeddedFont>
      <p:font typeface="Tahoma" panose="020B0604030504040204" pitchFamily="34" charset="0"/>
      <p:regular r:id="rId19"/>
      <p:bold r:id="rId20"/>
    </p:embeddedFont>
    <p:embeddedFont>
      <p:font typeface="HeliosCond" panose="04000500000000000000" charset="-52"/>
      <p:regular r:id="rId21"/>
      <p:bold r:id="rId22"/>
      <p:italic r:id="rId23"/>
      <p:boldItalic r:id="rId24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207" userDrawn="1">
          <p15:clr>
            <a:srgbClr val="A4A3A4"/>
          </p15:clr>
        </p15:guide>
        <p15:guide id="2" pos="210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20000"/>
    <a:srgbClr val="263354"/>
    <a:srgbClr val="405252"/>
    <a:srgbClr val="3B3B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FD4443E-F989-4FC4-A0C8-D5A2AF1F390B}" styleName="Темный стиль 1 —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60" d="100"/>
          <a:sy n="60" d="100"/>
        </p:scale>
        <p:origin x="-78" y="-444"/>
      </p:cViewPr>
      <p:guideLst>
        <p:guide orient="horz" pos="1207"/>
        <p:guide pos="210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12.fntdata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24" Type="http://schemas.openxmlformats.org/officeDocument/2006/relationships/font" Target="fonts/font15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23" Type="http://schemas.openxmlformats.org/officeDocument/2006/relationships/font" Target="fonts/font14.fntdata"/><Relationship Id="rId28" Type="http://schemas.openxmlformats.org/officeDocument/2006/relationships/tableStyles" Target="tableStyles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5.fntdata"/><Relationship Id="rId22" Type="http://schemas.openxmlformats.org/officeDocument/2006/relationships/font" Target="fonts/font13.fntdata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406187246810505E-2"/>
          <c:y val="0.1456429367304147"/>
          <c:w val="0.52036515275021811"/>
          <c:h val="0.7193006083600603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dPt>
            <c:idx val="0"/>
            <c:bubble3D val="0"/>
            <c:spPr>
              <a:solidFill>
                <a:srgbClr val="E821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26D-46AE-BD1F-805F70D07D8E}"/>
              </c:ext>
            </c:extLst>
          </c:dPt>
          <c:dPt>
            <c:idx val="1"/>
            <c:bubble3D val="0"/>
            <c:spPr>
              <a:solidFill>
                <a:srgbClr val="00469B"/>
              </a:solidFill>
              <a:ln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26D-46AE-BD1F-805F70D07D8E}"/>
              </c:ext>
            </c:extLst>
          </c:dPt>
          <c:dPt>
            <c:idx val="2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26D-46AE-BD1F-805F70D07D8E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226D-46AE-BD1F-805F70D07D8E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4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26D-46AE-BD1F-805F70D07D8E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numFmt formatCode="General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05</a:t>
                    </a:r>
                  </a:p>
                  <a:p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226D-46AE-BD1F-805F70D07D8E}"/>
                </c:ext>
                <c:ext xmlns:c15="http://schemas.microsoft.com/office/drawing/2012/chart" uri="{CE6537A1-D6FC-4f65-9D91-7224C49458BB}"/>
              </c:extLst>
            </c:dLbl>
            <c:numFmt formatCode="General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Инициатор</c:v>
                </c:pt>
                <c:pt idx="1">
                  <c:v>РФПИ</c:v>
                </c:pt>
                <c:pt idx="2">
                  <c:v>Регион</c:v>
                </c:pt>
                <c:pt idx="3">
                  <c:v>Банки / Со-инвесторы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 formatCode="0.0">
                  <c:v>150</c:v>
                </c:pt>
                <c:pt idx="3" formatCode="0.0">
                  <c:v>3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226D-46AE-BD1F-805F70D07D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b"/>
      <c:legendEntry>
        <c:idx val="1"/>
        <c:delete val="1"/>
      </c:legendEntry>
      <c:legendEntry>
        <c:idx val="2"/>
        <c:delete val="1"/>
      </c:legendEntry>
      <c:layout>
        <c:manualLayout>
          <c:xMode val="edge"/>
          <c:yMode val="edge"/>
          <c:x val="0.53556192250533552"/>
          <c:y val="0.34826983325096328"/>
          <c:w val="0.45091744474192474"/>
          <c:h val="0.3203485257795851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latin typeface="+mn-lt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406187246810505E-2"/>
          <c:y val="0.1456429367304147"/>
          <c:w val="0.52036515275021811"/>
          <c:h val="0.7193006083600603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dPt>
            <c:idx val="0"/>
            <c:bubble3D val="0"/>
            <c:spPr>
              <a:solidFill>
                <a:srgbClr val="E821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E0A-44A7-BD5C-CB0A2F32CE8A}"/>
              </c:ext>
            </c:extLst>
          </c:dPt>
          <c:dPt>
            <c:idx val="1"/>
            <c:bubble3D val="0"/>
            <c:spPr>
              <a:solidFill>
                <a:srgbClr val="00469B"/>
              </a:solidFill>
              <a:ln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E0A-44A7-BD5C-CB0A2F32CE8A}"/>
              </c:ext>
            </c:extLst>
          </c:dPt>
          <c:dPt>
            <c:idx val="2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E0A-44A7-BD5C-CB0A2F32CE8A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0E0A-44A7-BD5C-CB0A2F32CE8A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E0A-44A7-BD5C-CB0A2F32CE8A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pPr>
                      <a:defRPr>
                        <a:solidFill>
                          <a:schemeClr val="bg1"/>
                        </a:solidFill>
                      </a:defRPr>
                    </a:pPr>
                    <a:r>
                      <a:rPr lang="en-US" dirty="0" smtClean="0"/>
                      <a:t>56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0E0A-44A7-BD5C-CB0A2F32CE8A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0E0A-44A7-BD5C-CB0A2F32CE8A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4"/>
                <c:pt idx="0">
                  <c:v>Оборудование</c:v>
                </c:pt>
                <c:pt idx="1">
                  <c:v>Строительство</c:v>
                </c:pt>
                <c:pt idx="2">
                  <c:v>Земельный участок</c:v>
                </c:pt>
                <c:pt idx="3">
                  <c:v>Транспорт</c:v>
                </c:pt>
              </c:strCache>
            </c:strRef>
          </c:cat>
          <c:val>
            <c:numRef>
              <c:f>Лист1!$B$2:$B$6</c:f>
              <c:numCache>
                <c:formatCode>0</c:formatCode>
                <c:ptCount val="5"/>
                <c:pt idx="0">
                  <c:v>276</c:v>
                </c:pt>
                <c:pt idx="1">
                  <c:v>153</c:v>
                </c:pt>
                <c:pt idx="2">
                  <c:v>5</c:v>
                </c:pt>
                <c:pt idx="3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0E0A-44A7-BD5C-CB0A2F32CE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b"/>
      <c:legendEntry>
        <c:idx val="4"/>
        <c:delete val="1"/>
      </c:legendEntry>
      <c:layout>
        <c:manualLayout>
          <c:xMode val="edge"/>
          <c:yMode val="edge"/>
          <c:x val="0.53556192250533552"/>
          <c:y val="4.6176375056445305E-2"/>
          <c:w val="0.46443807749466454"/>
          <c:h val="0.95382362494355466"/>
        </c:manualLayout>
      </c:layout>
      <c:overlay val="0"/>
      <c:txPr>
        <a:bodyPr/>
        <a:lstStyle/>
        <a:p>
          <a:pPr>
            <a:defRPr sz="1000">
              <a:latin typeface="+mn-lt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+mn-lt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39349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8223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81398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5541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0361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8610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404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353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2766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2842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77597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5510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image" Target="../media/image8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image" Target="../media/image10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image" Target="../media/image9.png"/><Relationship Id="rId8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184760"/>
            <a:ext cx="9144000" cy="67324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733750" y="2742613"/>
            <a:ext cx="5857875" cy="74081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</a:rPr>
              <a:t>СТРОИТЕЛЬСТВО ЗАВОДА ПО ПЕРЕРАБОТКЕ ПОЛИМЕРОВ: </a:t>
            </a:r>
          </a:p>
          <a:p>
            <a:pPr algn="ctr"/>
            <a:r>
              <a:rPr lang="ru-RU" sz="2000" b="1" dirty="0" err="1" smtClean="0">
                <a:solidFill>
                  <a:schemeClr val="accent3">
                    <a:lumMod val="50000"/>
                  </a:schemeClr>
                </a:solidFill>
              </a:rPr>
              <a:t>Термоформирование</a:t>
            </a:r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</a:rPr>
              <a:t> изделий из плоских заготовок</a:t>
            </a:r>
            <a:endParaRPr lang="ru-RU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35067" y="5569766"/>
            <a:ext cx="8489483" cy="0"/>
          </a:xfrm>
          <a:prstGeom prst="line">
            <a:avLst/>
          </a:prstGeom>
          <a:ln w="158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521345" y="4845532"/>
            <a:ext cx="2305052" cy="55847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3600" b="1" dirty="0">
                <a:solidFill>
                  <a:schemeClr val="accent3">
                    <a:lumMod val="50000"/>
                  </a:schemeClr>
                </a:solidFill>
              </a:rPr>
              <a:t>2020</a:t>
            </a:r>
            <a:endParaRPr lang="ru-RU" sz="36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63997" y="5687496"/>
            <a:ext cx="3962400" cy="33150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</a:rPr>
              <a:t>Калужская </a:t>
            </a: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область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0" y="629174"/>
            <a:ext cx="914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0" y="6267974"/>
            <a:ext cx="914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765079" y="970687"/>
            <a:ext cx="3962400" cy="33150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ru-RU" sz="1400" b="1" i="1" dirty="0">
                <a:solidFill>
                  <a:srgbClr val="820000"/>
                </a:solidFill>
              </a:rPr>
              <a:t>МАКЕТ  ИНВЕСТИЦИОННОГО  ПРЕДЛОЖЕНИЯ</a:t>
            </a:r>
          </a:p>
        </p:txBody>
      </p:sp>
    </p:spTree>
    <p:extLst>
      <p:ext uri="{BB962C8B-B14F-4D97-AF65-F5344CB8AC3E}">
        <p14:creationId xmlns:p14="http://schemas.microsoft.com/office/powerpoint/2010/main" val="2404705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0" y="-2"/>
            <a:ext cx="9144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9388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РЕЗЮМЕ ПРОЕКТА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850053" y="876022"/>
            <a:ext cx="4231168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КЛЮЧЕВЫЕ ПОКАЗАТЕЛИ ПРОЕКТА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23132" y="4933771"/>
            <a:ext cx="4381915" cy="1386298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05 млн руб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– потребность в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емных средствах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Форма: кредит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а сумму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63 млн руб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на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0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лет со ставкой не более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8,5%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довых в рублях. 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23133" y="4933770"/>
            <a:ext cx="437689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ПОТРЕБНОСТЬ В ИНВЕСТИЦИЯХ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23133" y="886897"/>
            <a:ext cx="4447221" cy="1240426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троительство завода по </a:t>
            </a:r>
            <a:r>
              <a:rPr lang="ru-RU" sz="105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термоформированию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изделий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ощность – 8 тыс. тонн в год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23134" y="876022"/>
            <a:ext cx="444722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ПИСАНИЕ ПРОЕКТ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463" y="922838"/>
            <a:ext cx="317019" cy="31701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007" y="4970271"/>
            <a:ext cx="347502" cy="34750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3666" y="925909"/>
            <a:ext cx="317019" cy="310923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238958" y="2629309"/>
            <a:ext cx="4447221" cy="2166167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38959" y="2618435"/>
            <a:ext cx="444722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СТРУКТУРА ИНВЕСТИЦИИ</a:t>
            </a: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88" y="2665251"/>
            <a:ext cx="317019" cy="317019"/>
          </a:xfrm>
          <a:prstGeom prst="rect">
            <a:avLst/>
          </a:prstGeom>
        </p:spPr>
      </p:pic>
      <p:graphicFrame>
        <p:nvGraphicFramePr>
          <p:cNvPr id="26" name="Диаграмма 35"/>
          <p:cNvGraphicFramePr/>
          <p:nvPr>
            <p:extLst>
              <p:ext uri="{D42A27DB-BD31-4B8C-83A1-F6EECF244321}">
                <p14:modId xmlns:p14="http://schemas.microsoft.com/office/powerpoint/2010/main" val="1012536700"/>
              </p:ext>
            </p:extLst>
          </p:nvPr>
        </p:nvGraphicFramePr>
        <p:xfrm>
          <a:off x="316007" y="3105745"/>
          <a:ext cx="2268311" cy="1640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8" name="Диаграмма 73"/>
          <p:cNvGraphicFramePr/>
          <p:nvPr>
            <p:extLst>
              <p:ext uri="{D42A27DB-BD31-4B8C-83A1-F6EECF244321}">
                <p14:modId xmlns:p14="http://schemas.microsoft.com/office/powerpoint/2010/main" val="917782832"/>
              </p:ext>
            </p:extLst>
          </p:nvPr>
        </p:nvGraphicFramePr>
        <p:xfrm>
          <a:off x="2402043" y="3092109"/>
          <a:ext cx="2268311" cy="1640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626307" y="3697157"/>
            <a:ext cx="780628" cy="430871"/>
          </a:xfrm>
          <a:prstGeom prst="rect">
            <a:avLst/>
          </a:prstGeom>
          <a:noFill/>
        </p:spPr>
        <p:txBody>
          <a:bodyPr wrap="square" lIns="91423" tIns="45712" rIns="91423" bIns="45712" rtlCol="0">
            <a:spAutoFit/>
          </a:bodyPr>
          <a:lstStyle/>
          <a:p>
            <a:pPr algn="ctr"/>
            <a:r>
              <a:rPr lang="ru-RU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150</a:t>
            </a:r>
            <a:endParaRPr lang="ru-RU" sz="1400" b="1" baseline="30000" dirty="0">
              <a:solidFill>
                <a:prstClr val="black"/>
              </a:solidFill>
              <a:latin typeface="+mn-lt"/>
              <a:cs typeface="Arial" panose="020B0604020202020204" pitchFamily="34" charset="0"/>
            </a:endParaRPr>
          </a:p>
          <a:p>
            <a:pPr algn="ctr"/>
            <a:r>
              <a:rPr lang="ru-RU" sz="800" dirty="0" smtClean="0">
                <a:cs typeface="Arial" panose="020B0604020202020204" pitchFamily="34" charset="0"/>
              </a:rPr>
              <a:t>м</a:t>
            </a:r>
            <a:r>
              <a:rPr lang="ru-RU" sz="800" dirty="0" smtClean="0">
                <a:latin typeface="+mn-lt"/>
                <a:cs typeface="Arial" panose="020B0604020202020204" pitchFamily="34" charset="0"/>
              </a:rPr>
              <a:t>лн руб</a:t>
            </a:r>
            <a:r>
              <a:rPr lang="ru-RU" sz="800" dirty="0">
                <a:latin typeface="+mn-lt"/>
                <a:cs typeface="Arial" panose="020B0604020202020204" pitchFamily="34" charset="0"/>
              </a:rPr>
              <a:t>.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665778" y="3666549"/>
            <a:ext cx="780628" cy="359057"/>
          </a:xfrm>
          <a:prstGeom prst="rect">
            <a:avLst/>
          </a:prstGeom>
          <a:noFill/>
        </p:spPr>
        <p:txBody>
          <a:bodyPr wrap="square" lIns="91423" tIns="45712" rIns="91423" bIns="45712" rtlCol="0">
            <a:spAutoFit/>
          </a:bodyPr>
          <a:lstStyle/>
          <a:p>
            <a:pPr algn="ctr"/>
            <a:r>
              <a:rPr lang="ru-RU" sz="1400" b="1" baseline="30000" dirty="0" smtClean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150</a:t>
            </a:r>
            <a:endParaRPr lang="ru-RU" sz="1400" b="1" baseline="30000" dirty="0">
              <a:solidFill>
                <a:prstClr val="black"/>
              </a:solidFill>
              <a:latin typeface="+mn-lt"/>
              <a:cs typeface="Arial" panose="020B0604020202020204" pitchFamily="34" charset="0"/>
            </a:endParaRPr>
          </a:p>
          <a:p>
            <a:pPr algn="ctr"/>
            <a:r>
              <a:rPr lang="ru-RU" sz="800" dirty="0">
                <a:cs typeface="Arial" panose="020B0604020202020204" pitchFamily="34" charset="0"/>
              </a:rPr>
              <a:t>м</a:t>
            </a:r>
            <a:r>
              <a:rPr lang="ru-RU" sz="800" dirty="0" smtClean="0">
                <a:latin typeface="+mn-lt"/>
                <a:cs typeface="Arial" panose="020B0604020202020204" pitchFamily="34" charset="0"/>
              </a:rPr>
              <a:t>лн руб</a:t>
            </a:r>
            <a:r>
              <a:rPr lang="ru-RU" sz="800" dirty="0">
                <a:latin typeface="+mn-lt"/>
                <a:cs typeface="Arial" panose="020B0604020202020204" pitchFamily="34" charset="0"/>
              </a:rPr>
              <a:t>..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2798491"/>
              </p:ext>
            </p:extLst>
          </p:nvPr>
        </p:nvGraphicFramePr>
        <p:xfrm>
          <a:off x="4863759" y="1285323"/>
          <a:ext cx="4217461" cy="4806146"/>
        </p:xfrm>
        <a:graphic>
          <a:graphicData uri="http://schemas.openxmlformats.org/drawingml/2006/table">
            <a:tbl>
              <a:tblPr bandRow="1">
                <a:tableStyleId>{8FD4443E-F989-4FC4-A0C8-D5A2AF1F390B}</a:tableStyleId>
              </a:tblPr>
              <a:tblGrid>
                <a:gridCol w="22866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3077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776186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Текущий статус 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Наличие идеи и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потребности в продукции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641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Ежегодная выручк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94 млн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уб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1483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Общий объем инвестиций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50 млн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уб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31483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EBITDA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39,4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лн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уб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205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ентабельность </a:t>
                      </a:r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EBITDA,</a:t>
                      </a:r>
                      <a:r>
                        <a:rPr lang="en-US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52,3</a:t>
                      </a:r>
                      <a:r>
                        <a:rPr lang="en-US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65741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NPV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12,42 млн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уб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65742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IRR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7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65742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PI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,33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тавка дисконтирования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2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рок окупаемости</a:t>
                      </a:r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(DPBP)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4,9 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лет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ериод планирования проект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0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лет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рок строительства 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завода 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1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месяцев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838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805497"/>
            <a:ext cx="9144000" cy="3771979"/>
          </a:xfrm>
          <a:prstGeom prst="rect">
            <a:avLst/>
          </a:prstGeom>
          <a:solidFill>
            <a:schemeClr val="bg1">
              <a:lumMod val="95000"/>
              <a:alpha val="55000"/>
            </a:schemeClr>
          </a:solidFill>
        </p:spPr>
        <p:txBody>
          <a:bodyPr wrap="square" lIns="108000" tIns="108000" rIns="324000" bIns="108000">
            <a:noAutofit/>
          </a:bodyPr>
          <a:lstStyle/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Термоформование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зделий из плоских (листовых или плёночных)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готовок - один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з основных методов переработки полимерных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атериалов. </a:t>
            </a:r>
            <a:r>
              <a:rPr lang="ru-RU" sz="110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Термоформование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бъединяет несколько технологических методов: вакуумное, пневматическое, механическое, а также и некоторые другие виды формования нагретых полимерных листовых или плёночных заготовок, при этом возможны их различные комбинации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еализация методов </a:t>
            </a:r>
            <a:r>
              <a:rPr lang="ru-RU" sz="1100" dirty="0" err="1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термоформования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достаточно проста: листовую или плёночную полимерную заготовку нагревают до температуры высокоэластического состояния, а затем, деформируя её различными способами, придают последней необходимую форму, фиксация которой осуществляется путём охлаждения отформованного изделия. 	</a:t>
            </a:r>
            <a:endParaRPr lang="ru-RU" sz="1100" dirty="0" smtClean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b="1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СНОВНЫЕ ПЛЮСЫ ТЕХНОЛОГИИ:</a:t>
            </a:r>
          </a:p>
          <a:p>
            <a:pPr lvl="2"/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стота;</a:t>
            </a: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/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омпактность;</a:t>
            </a: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/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Экономичность;</a:t>
            </a: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/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изкая стоимость технологической оснастки;</a:t>
            </a:r>
          </a:p>
          <a:p>
            <a:pPr lvl="2"/>
            <a:endParaRPr lang="ru-RU" sz="1100" dirty="0" smtClean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СНОВНЫЕ </a:t>
            </a:r>
            <a:r>
              <a:rPr lang="ru-RU" sz="1100" b="1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ИДЫ ПРОДУКЦИИ:</a:t>
            </a:r>
            <a:endParaRPr lang="ru-RU" sz="1100" b="1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/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изводство тары и упаковки для пищевой, парфюмерной, фармацевтической, нефтяной промышленности;</a:t>
            </a: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/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дноразовая посуда;</a:t>
            </a: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/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/>
            <a:endParaRPr lang="ru-RU" sz="1100" dirty="0" smtClean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/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/>
            <a:endParaRPr lang="ru-RU" sz="1100" dirty="0" smtClean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/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/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14325" y="172522"/>
            <a:ext cx="502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ОПИСАНИЕ ПРОЕКТА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0" y="1830573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0" y="5577476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ятиугольник 30"/>
          <p:cNvSpPr/>
          <p:nvPr/>
        </p:nvSpPr>
        <p:spPr>
          <a:xfrm>
            <a:off x="215912" y="848796"/>
            <a:ext cx="2747539" cy="870947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11" y="925828"/>
            <a:ext cx="426070" cy="426070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707621" y="848795"/>
            <a:ext cx="2255830" cy="870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Местонахождение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Калужская область 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3178708" y="848797"/>
            <a:ext cx="2586771" cy="870946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671072" y="848795"/>
            <a:ext cx="2094407" cy="699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Отрасль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полимерная продукция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0567" y="912566"/>
            <a:ext cx="307472" cy="307472"/>
          </a:xfrm>
          <a:prstGeom prst="rect">
            <a:avLst/>
          </a:prstGeom>
        </p:spPr>
      </p:pic>
      <p:sp>
        <p:nvSpPr>
          <p:cNvPr id="40" name="Пятиугольник 39"/>
          <p:cNvSpPr/>
          <p:nvPr/>
        </p:nvSpPr>
        <p:spPr>
          <a:xfrm>
            <a:off x="5984191" y="848796"/>
            <a:ext cx="2933306" cy="870947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6473100" y="848795"/>
            <a:ext cx="2444397" cy="870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Тип проекта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Создание нового производства</a:t>
            </a: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0015" y="885916"/>
            <a:ext cx="369680" cy="369680"/>
          </a:xfrm>
          <a:prstGeom prst="rect">
            <a:avLst/>
          </a:prstGeom>
        </p:spPr>
      </p:pic>
      <p:sp>
        <p:nvSpPr>
          <p:cNvPr id="46" name="Пятиугольник 45"/>
          <p:cNvSpPr/>
          <p:nvPr/>
        </p:nvSpPr>
        <p:spPr>
          <a:xfrm>
            <a:off x="4603354" y="5762229"/>
            <a:ext cx="4314143" cy="946578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5084917" y="5762228"/>
            <a:ext cx="3832580" cy="946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Проектная мощность в год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cs typeface="Times New Roman" panose="02020603050405020304" pitchFamily="18" charset="0"/>
              </a:rPr>
              <a:t>540 тонн в год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7402" y="5847982"/>
            <a:ext cx="306391" cy="306391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263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4" y="172522"/>
            <a:ext cx="58521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МЕСТОПОЛОЖЕНИЕ ПРОЕКТА,  ГРАФИК РЕАЛИЗАЦИИ </a:t>
            </a:r>
          </a:p>
        </p:txBody>
      </p:sp>
      <p:sp>
        <p:nvSpPr>
          <p:cNvPr id="35" name="Пятиугольник 34"/>
          <p:cNvSpPr/>
          <p:nvPr/>
        </p:nvSpPr>
        <p:spPr>
          <a:xfrm>
            <a:off x="729000" y="4352593"/>
            <a:ext cx="1905000" cy="358806"/>
          </a:xfrm>
          <a:prstGeom prst="homePlate">
            <a:avLst>
              <a:gd name="adj" fmla="val 15519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Разработка проектной документации</a:t>
            </a:r>
          </a:p>
          <a:p>
            <a:r>
              <a:rPr lang="ru-RU" sz="1000" dirty="0">
                <a:solidFill>
                  <a:schemeClr val="tx1"/>
                </a:solidFill>
              </a:rPr>
              <a:t>Приобретение участка</a:t>
            </a:r>
          </a:p>
          <a:p>
            <a:r>
              <a:rPr lang="ru-RU" sz="1000" dirty="0">
                <a:solidFill>
                  <a:schemeClr val="tx1"/>
                </a:solidFill>
              </a:rPr>
              <a:t>Получение разрешения на строительство</a:t>
            </a:r>
          </a:p>
        </p:txBody>
      </p:sp>
      <p:sp>
        <p:nvSpPr>
          <p:cNvPr id="36" name="Пятиугольник 35"/>
          <p:cNvSpPr/>
          <p:nvPr/>
        </p:nvSpPr>
        <p:spPr>
          <a:xfrm>
            <a:off x="764071" y="5367070"/>
            <a:ext cx="2711023" cy="820732"/>
          </a:xfrm>
          <a:prstGeom prst="homePlate">
            <a:avLst>
              <a:gd name="adj" fmla="val 3108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Строительство объектов и инфраструктуры.</a:t>
            </a:r>
          </a:p>
          <a:p>
            <a:r>
              <a:rPr lang="ru-RU" sz="1000" dirty="0">
                <a:solidFill>
                  <a:schemeClr val="tx1"/>
                </a:solidFill>
              </a:rPr>
              <a:t>Увеличение мощности инженерных сетей</a:t>
            </a:r>
          </a:p>
          <a:p>
            <a:r>
              <a:rPr lang="ru-RU" sz="1000" dirty="0">
                <a:solidFill>
                  <a:schemeClr val="tx1"/>
                </a:solidFill>
              </a:rPr>
              <a:t>Привлечение финансирования</a:t>
            </a:r>
          </a:p>
        </p:txBody>
      </p:sp>
      <p:sp>
        <p:nvSpPr>
          <p:cNvPr id="37" name="Пятиугольник 36"/>
          <p:cNvSpPr/>
          <p:nvPr/>
        </p:nvSpPr>
        <p:spPr>
          <a:xfrm>
            <a:off x="2180222" y="4483919"/>
            <a:ext cx="1905000" cy="438151"/>
          </a:xfrm>
          <a:prstGeom prst="homePlate">
            <a:avLst>
              <a:gd name="adj" fmla="val 3108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Приобретение оборудования.</a:t>
            </a:r>
          </a:p>
          <a:p>
            <a:r>
              <a:rPr lang="ru-RU" sz="1000" dirty="0">
                <a:solidFill>
                  <a:schemeClr val="tx1"/>
                </a:solidFill>
              </a:rPr>
              <a:t>Монтаж оборудования.</a:t>
            </a:r>
          </a:p>
        </p:txBody>
      </p:sp>
      <p:sp>
        <p:nvSpPr>
          <p:cNvPr id="38" name="Пятиугольник 37"/>
          <p:cNvSpPr/>
          <p:nvPr/>
        </p:nvSpPr>
        <p:spPr>
          <a:xfrm>
            <a:off x="2410067" y="5888417"/>
            <a:ext cx="1309734" cy="990264"/>
          </a:xfrm>
          <a:prstGeom prst="homePlate">
            <a:avLst>
              <a:gd name="adj" fmla="val 1569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Ввод в эксплуатацию завода.</a:t>
            </a:r>
          </a:p>
          <a:p>
            <a:r>
              <a:rPr lang="ru-RU" sz="1000" dirty="0">
                <a:solidFill>
                  <a:schemeClr val="tx1"/>
                </a:solidFill>
              </a:rPr>
              <a:t>Начало выпуска продукции</a:t>
            </a:r>
          </a:p>
        </p:txBody>
      </p:sp>
      <p:sp>
        <p:nvSpPr>
          <p:cNvPr id="26" name="Стрелка вправо 25"/>
          <p:cNvSpPr/>
          <p:nvPr/>
        </p:nvSpPr>
        <p:spPr>
          <a:xfrm>
            <a:off x="583694" y="4861607"/>
            <a:ext cx="3625338" cy="571500"/>
          </a:xfrm>
          <a:prstGeom prst="rightArrow">
            <a:avLst>
              <a:gd name="adj1" fmla="val 70000"/>
              <a:gd name="adj2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TextBox 27"/>
          <p:cNvSpPr txBox="1"/>
          <p:nvPr/>
        </p:nvSpPr>
        <p:spPr>
          <a:xfrm>
            <a:off x="841592" y="4952630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0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230813" y="4952630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1</a:t>
            </a:r>
          </a:p>
        </p:txBody>
      </p:sp>
      <p:grpSp>
        <p:nvGrpSpPr>
          <p:cNvPr id="51" name="Группа 50"/>
          <p:cNvGrpSpPr/>
          <p:nvPr/>
        </p:nvGrpSpPr>
        <p:grpSpPr>
          <a:xfrm>
            <a:off x="204070" y="794020"/>
            <a:ext cx="8932609" cy="5853643"/>
            <a:chOff x="204070" y="794020"/>
            <a:chExt cx="8932609" cy="5853643"/>
          </a:xfrm>
        </p:grpSpPr>
        <p:pic>
          <p:nvPicPr>
            <p:cNvPr id="52" name="Рисунок 51"/>
            <p:cNvPicPr>
              <a:picLocks noChangeAspect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98539" y="1847596"/>
              <a:ext cx="5230445" cy="4800067"/>
            </a:xfrm>
            <a:prstGeom prst="rect">
              <a:avLst/>
            </a:prstGeom>
          </p:spPr>
        </p:pic>
        <p:grpSp>
          <p:nvGrpSpPr>
            <p:cNvPr id="53" name="Группа 52"/>
            <p:cNvGrpSpPr/>
            <p:nvPr/>
          </p:nvGrpSpPr>
          <p:grpSpPr>
            <a:xfrm>
              <a:off x="204070" y="794020"/>
              <a:ext cx="4733777" cy="3679772"/>
              <a:chOff x="204070" y="794020"/>
              <a:chExt cx="4733777" cy="3679772"/>
            </a:xfrm>
          </p:grpSpPr>
          <p:pic>
            <p:nvPicPr>
              <p:cNvPr id="60" name="Рисунок 59"/>
              <p:cNvPicPr>
                <a:picLocks noChangeAspect="1"/>
              </p:cNvPicPr>
              <p:nvPr>
                <p:custDataLst>
                  <p:tags r:id="rId1"/>
                </p:custDataLst>
              </p:nvPr>
            </p:nvPicPr>
            <p:blipFill>
              <a:blip r:embed="rId3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4070" y="794020"/>
                <a:ext cx="3817735" cy="1951860"/>
              </a:xfrm>
              <a:prstGeom prst="rect">
                <a:avLst/>
              </a:prstGeom>
            </p:spPr>
          </p:pic>
          <p:pic>
            <p:nvPicPr>
              <p:cNvPr id="61" name="Рисунок 60"/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>
              <a:blip r:embed="rId3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61593" y="1847596"/>
                <a:ext cx="2723455" cy="2238966"/>
              </a:xfrm>
              <a:prstGeom prst="rect">
                <a:avLst/>
              </a:prstGeom>
            </p:spPr>
          </p:pic>
          <p:sp>
            <p:nvSpPr>
              <p:cNvPr id="62" name="Овал 61"/>
              <p:cNvSpPr/>
              <p:nvPr>
                <p:custDataLst>
                  <p:tags r:id="rId3"/>
                </p:custDataLst>
              </p:nvPr>
            </p:nvSpPr>
            <p:spPr>
              <a:xfrm>
                <a:off x="3997149" y="2579364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3" name="Овал 62"/>
              <p:cNvSpPr/>
              <p:nvPr>
                <p:custDataLst>
                  <p:tags r:id="rId4"/>
                </p:custDataLst>
              </p:nvPr>
            </p:nvSpPr>
            <p:spPr>
              <a:xfrm>
                <a:off x="3873131" y="2756132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4" name="Овал 63"/>
              <p:cNvSpPr/>
              <p:nvPr>
                <p:custDataLst>
                  <p:tags r:id="rId5"/>
                </p:custDataLst>
              </p:nvPr>
            </p:nvSpPr>
            <p:spPr>
              <a:xfrm>
                <a:off x="3634728" y="2820805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5" name="Овал 64"/>
              <p:cNvSpPr/>
              <p:nvPr>
                <p:custDataLst>
                  <p:tags r:id="rId6"/>
                </p:custDataLst>
              </p:nvPr>
            </p:nvSpPr>
            <p:spPr>
              <a:xfrm>
                <a:off x="3238613" y="3527811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6" name="Овал 65"/>
              <p:cNvSpPr/>
              <p:nvPr>
                <p:custDataLst>
                  <p:tags r:id="rId7"/>
                </p:custDataLst>
              </p:nvPr>
            </p:nvSpPr>
            <p:spPr>
              <a:xfrm>
                <a:off x="3076422" y="2934743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7" name="Овал 66"/>
              <p:cNvSpPr/>
              <p:nvPr>
                <p:custDataLst>
                  <p:tags r:id="rId8"/>
                </p:custDataLst>
              </p:nvPr>
            </p:nvSpPr>
            <p:spPr>
              <a:xfrm>
                <a:off x="2954067" y="2685410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8" name="Овал 67"/>
              <p:cNvSpPr/>
              <p:nvPr>
                <p:custDataLst>
                  <p:tags r:id="rId9"/>
                </p:custDataLst>
              </p:nvPr>
            </p:nvSpPr>
            <p:spPr>
              <a:xfrm>
                <a:off x="3354672" y="2233664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9" name="Овал 68"/>
              <p:cNvSpPr/>
              <p:nvPr>
                <p:custDataLst>
                  <p:tags r:id="rId10"/>
                </p:custDataLst>
              </p:nvPr>
            </p:nvSpPr>
            <p:spPr>
              <a:xfrm>
                <a:off x="2669522" y="2298337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0" name="Овал 69"/>
              <p:cNvSpPr/>
              <p:nvPr>
                <p:custDataLst>
                  <p:tags r:id="rId11"/>
                </p:custDataLst>
              </p:nvPr>
            </p:nvSpPr>
            <p:spPr>
              <a:xfrm>
                <a:off x="2552731" y="2750083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1" name="Овал 70"/>
              <p:cNvSpPr/>
              <p:nvPr>
                <p:custDataLst>
                  <p:tags r:id="rId12"/>
                </p:custDataLst>
              </p:nvPr>
            </p:nvSpPr>
            <p:spPr>
              <a:xfrm>
                <a:off x="2707554" y="2981565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2" name="Овал 71"/>
              <p:cNvSpPr/>
              <p:nvPr>
                <p:custDataLst>
                  <p:tags r:id="rId13"/>
                </p:custDataLst>
              </p:nvPr>
            </p:nvSpPr>
            <p:spPr>
              <a:xfrm>
                <a:off x="2484229" y="3192598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3" name="Овал 72"/>
              <p:cNvSpPr/>
              <p:nvPr>
                <p:custDataLst>
                  <p:tags r:id="rId14"/>
                </p:custDataLst>
              </p:nvPr>
            </p:nvSpPr>
            <p:spPr>
              <a:xfrm>
                <a:off x="2419556" y="3439864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4" name="TextBox 73"/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3629342" y="2284953"/>
                <a:ext cx="622286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Ярославль</a:t>
                </a:r>
              </a:p>
            </p:txBody>
          </p:sp>
          <p:sp>
            <p:nvSpPr>
              <p:cNvPr id="75" name="TextBox 74"/>
              <p:cNvSpPr txBox="1"/>
              <p:nvPr>
                <p:custDataLst>
                  <p:tags r:id="rId16"/>
                </p:custDataLst>
              </p:nvPr>
            </p:nvSpPr>
            <p:spPr>
              <a:xfrm>
                <a:off x="3994768" y="2486129"/>
                <a:ext cx="599844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Кострома</a:t>
                </a:r>
              </a:p>
            </p:txBody>
          </p:sp>
          <p:sp>
            <p:nvSpPr>
              <p:cNvPr id="76" name="TextBox 75"/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3391205" y="2944009"/>
                <a:ext cx="47481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Рязань</a:t>
                </a:r>
              </a:p>
            </p:txBody>
          </p:sp>
          <p:sp>
            <p:nvSpPr>
              <p:cNvPr id="77" name="TextBox 76"/>
              <p:cNvSpPr txBox="1"/>
              <p:nvPr>
                <p:custDataLst>
                  <p:tags r:id="rId18"/>
                </p:custDataLst>
              </p:nvPr>
            </p:nvSpPr>
            <p:spPr>
              <a:xfrm>
                <a:off x="3037074" y="3237885"/>
                <a:ext cx="489236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Липецк</a:t>
                </a:r>
              </a:p>
            </p:txBody>
          </p:sp>
          <p:sp>
            <p:nvSpPr>
              <p:cNvPr id="78" name="TextBox 77"/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2547663" y="3505597"/>
                <a:ext cx="55496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Воронеж</a:t>
                </a:r>
              </a:p>
            </p:txBody>
          </p:sp>
          <p:sp>
            <p:nvSpPr>
              <p:cNvPr id="79" name="TextBox 78"/>
              <p:cNvSpPr txBox="1"/>
              <p:nvPr>
                <p:custDataLst>
                  <p:tags r:id="rId20"/>
                </p:custDataLst>
              </p:nvPr>
            </p:nvSpPr>
            <p:spPr>
              <a:xfrm>
                <a:off x="3246233" y="3428658"/>
                <a:ext cx="495649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Тамбов</a:t>
                </a:r>
              </a:p>
            </p:txBody>
          </p:sp>
          <p:sp>
            <p:nvSpPr>
              <p:cNvPr id="80" name="TextBox 79"/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178972" y="2039208"/>
                <a:ext cx="428322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Тверь</a:t>
                </a:r>
              </a:p>
            </p:txBody>
          </p:sp>
          <p:sp>
            <p:nvSpPr>
              <p:cNvPr id="81" name="TextBox 80"/>
              <p:cNvSpPr txBox="1"/>
              <p:nvPr>
                <p:custDataLst>
                  <p:tags r:id="rId22"/>
                </p:custDataLst>
              </p:nvPr>
            </p:nvSpPr>
            <p:spPr>
              <a:xfrm>
                <a:off x="2272926" y="2104673"/>
                <a:ext cx="583814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Смоленск</a:t>
                </a:r>
              </a:p>
            </p:txBody>
          </p:sp>
          <p:sp>
            <p:nvSpPr>
              <p:cNvPr id="82" name="TextBox 81"/>
              <p:cNvSpPr txBox="1"/>
              <p:nvPr>
                <p:custDataLst>
                  <p:tags r:id="rId23"/>
                </p:custDataLst>
              </p:nvPr>
            </p:nvSpPr>
            <p:spPr>
              <a:xfrm>
                <a:off x="2159760" y="2640479"/>
                <a:ext cx="473206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Брянск</a:t>
                </a:r>
              </a:p>
            </p:txBody>
          </p:sp>
          <p:sp>
            <p:nvSpPr>
              <p:cNvPr id="83" name="TextBox 82"/>
              <p:cNvSpPr txBox="1"/>
              <p:nvPr>
                <p:custDataLst>
                  <p:tags r:id="rId24"/>
                </p:custDataLst>
              </p:nvPr>
            </p:nvSpPr>
            <p:spPr>
              <a:xfrm>
                <a:off x="2670600" y="2675940"/>
                <a:ext cx="45878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Калуга</a:t>
                </a:r>
              </a:p>
            </p:txBody>
          </p:sp>
          <p:sp>
            <p:nvSpPr>
              <p:cNvPr id="84" name="TextBox 83"/>
              <p:cNvSpPr txBox="1"/>
              <p:nvPr>
                <p:custDataLst>
                  <p:tags r:id="rId25"/>
                </p:custDataLst>
              </p:nvPr>
            </p:nvSpPr>
            <p:spPr>
              <a:xfrm>
                <a:off x="3071364" y="2828945"/>
                <a:ext cx="370614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Тула</a:t>
                </a:r>
              </a:p>
            </p:txBody>
          </p:sp>
          <p:sp>
            <p:nvSpPr>
              <p:cNvPr id="85" name="TextBox 84"/>
              <p:cNvSpPr txBox="1"/>
              <p:nvPr>
                <p:custDataLst>
                  <p:tags r:id="rId26"/>
                </p:custDataLst>
              </p:nvPr>
            </p:nvSpPr>
            <p:spPr>
              <a:xfrm>
                <a:off x="3634728" y="2759095"/>
                <a:ext cx="609462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Владимир</a:t>
                </a:r>
              </a:p>
            </p:txBody>
          </p:sp>
          <p:sp>
            <p:nvSpPr>
              <p:cNvPr id="86" name="TextBox 85"/>
              <p:cNvSpPr txBox="1"/>
              <p:nvPr>
                <p:custDataLst>
                  <p:tags r:id="rId27"/>
                </p:custDataLst>
              </p:nvPr>
            </p:nvSpPr>
            <p:spPr>
              <a:xfrm>
                <a:off x="3878310" y="2652958"/>
                <a:ext cx="543739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Иваново</a:t>
                </a:r>
              </a:p>
            </p:txBody>
          </p:sp>
          <p:sp>
            <p:nvSpPr>
              <p:cNvPr id="87" name="TextBox 86"/>
              <p:cNvSpPr txBox="1"/>
              <p:nvPr>
                <p:custDataLst>
                  <p:tags r:id="rId28"/>
                </p:custDataLst>
              </p:nvPr>
            </p:nvSpPr>
            <p:spPr>
              <a:xfrm>
                <a:off x="2550198" y="2991752"/>
                <a:ext cx="38985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Орёл</a:t>
                </a:r>
              </a:p>
            </p:txBody>
          </p:sp>
          <p:sp>
            <p:nvSpPr>
              <p:cNvPr id="88" name="TextBox 87"/>
              <p:cNvSpPr txBox="1"/>
              <p:nvPr>
                <p:custDataLst>
                  <p:tags r:id="rId29"/>
                </p:custDataLst>
              </p:nvPr>
            </p:nvSpPr>
            <p:spPr>
              <a:xfrm>
                <a:off x="2128297" y="3088537"/>
                <a:ext cx="415498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Курск</a:t>
                </a:r>
              </a:p>
            </p:txBody>
          </p:sp>
          <p:sp>
            <p:nvSpPr>
              <p:cNvPr id="89" name="TextBox 88"/>
              <p:cNvSpPr txBox="1"/>
              <p:nvPr>
                <p:custDataLst>
                  <p:tags r:id="rId30"/>
                </p:custDataLst>
              </p:nvPr>
            </p:nvSpPr>
            <p:spPr>
              <a:xfrm>
                <a:off x="1994701" y="3247243"/>
                <a:ext cx="574196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Белгород</a:t>
                </a:r>
              </a:p>
            </p:txBody>
          </p:sp>
          <p:sp>
            <p:nvSpPr>
              <p:cNvPr id="90" name="Овал 89"/>
              <p:cNvSpPr/>
              <p:nvPr>
                <p:custDataLst>
                  <p:tags r:id="rId31"/>
                </p:custDataLst>
              </p:nvPr>
            </p:nvSpPr>
            <p:spPr>
              <a:xfrm>
                <a:off x="1953393" y="1489338"/>
                <a:ext cx="2984454" cy="2984454"/>
              </a:xfrm>
              <a:prstGeom prst="ellips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91" name="Прямая соединительная линия 90"/>
              <p:cNvCxnSpPr/>
              <p:nvPr>
                <p:custDataLst>
                  <p:tags r:id="rId32"/>
                </p:custDataLst>
              </p:nvPr>
            </p:nvCxnSpPr>
            <p:spPr>
              <a:xfrm>
                <a:off x="976624" y="1982871"/>
                <a:ext cx="1199276" cy="1796559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Прямая соединительная линия 91"/>
              <p:cNvCxnSpPr/>
              <p:nvPr/>
            </p:nvCxnSpPr>
            <p:spPr>
              <a:xfrm flipV="1">
                <a:off x="984935" y="1519346"/>
                <a:ext cx="2191473" cy="463526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Овал 92"/>
              <p:cNvSpPr/>
              <p:nvPr/>
            </p:nvSpPr>
            <p:spPr>
              <a:xfrm>
                <a:off x="2934571" y="2659953"/>
                <a:ext cx="105536" cy="109740"/>
              </a:xfrm>
              <a:prstGeom prst="ellipse">
                <a:avLst/>
              </a:prstGeom>
              <a:solidFill>
                <a:schemeClr val="tx2">
                  <a:lumMod val="75000"/>
                </a:schemeClr>
              </a:solidFill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3195244" y="2605130"/>
                <a:ext cx="246734" cy="158459"/>
              </a:xfrm>
              <a:prstGeom prst="rect">
                <a:avLst/>
              </a:prstGeom>
              <a:solidFill>
                <a:srgbClr val="BCBD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54" name="Группа 53"/>
            <p:cNvGrpSpPr/>
            <p:nvPr/>
          </p:nvGrpSpPr>
          <p:grpSpPr>
            <a:xfrm>
              <a:off x="6710601" y="1044300"/>
              <a:ext cx="2426078" cy="1104726"/>
              <a:chOff x="3114582" y="1489132"/>
              <a:chExt cx="2426078" cy="1104726"/>
            </a:xfrm>
          </p:grpSpPr>
          <p:sp>
            <p:nvSpPr>
              <p:cNvPr id="58" name="Прямоугольник 57"/>
              <p:cNvSpPr/>
              <p:nvPr/>
            </p:nvSpPr>
            <p:spPr>
              <a:xfrm>
                <a:off x="3358652" y="1489132"/>
                <a:ext cx="2182008" cy="76944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14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более </a:t>
                </a:r>
                <a:r>
                  <a:rPr lang="ru-RU" sz="4400" b="1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1</a:t>
                </a:r>
                <a:r>
                  <a:rPr lang="ru-RU" sz="20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ru-RU" sz="14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трлн</a:t>
                </a:r>
                <a:r>
                  <a:rPr lang="ru-RU" sz="20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ru-RU" sz="14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руб.</a:t>
                </a:r>
                <a:endParaRPr lang="en-US" sz="14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3114582" y="2162971"/>
                <a:ext cx="2231666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1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объем инвестиций </a:t>
                </a:r>
              </a:p>
              <a:p>
                <a:pPr algn="ctr"/>
                <a:r>
                  <a:rPr lang="ru-RU" sz="11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с </a:t>
                </a:r>
                <a:r>
                  <a:rPr lang="en-US" sz="11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2006</a:t>
                </a:r>
                <a:r>
                  <a:rPr lang="ru-RU" sz="11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года</a:t>
                </a:r>
              </a:p>
            </p:txBody>
          </p:sp>
        </p:grpSp>
        <p:grpSp>
          <p:nvGrpSpPr>
            <p:cNvPr id="55" name="Группа 54"/>
            <p:cNvGrpSpPr/>
            <p:nvPr/>
          </p:nvGrpSpPr>
          <p:grpSpPr>
            <a:xfrm>
              <a:off x="5228928" y="1044300"/>
              <a:ext cx="1616879" cy="1274003"/>
              <a:chOff x="605884" y="2717162"/>
              <a:chExt cx="1616879" cy="1274003"/>
            </a:xfrm>
          </p:grpSpPr>
          <p:sp>
            <p:nvSpPr>
              <p:cNvPr id="56" name="Прямоугольник 55"/>
              <p:cNvSpPr/>
              <p:nvPr/>
            </p:nvSpPr>
            <p:spPr>
              <a:xfrm>
                <a:off x="783381" y="2717162"/>
                <a:ext cx="1261884" cy="76944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4400" b="1" dirty="0" smtClean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212</a:t>
                </a:r>
              </a:p>
            </p:txBody>
          </p:sp>
          <p:sp>
            <p:nvSpPr>
              <p:cNvPr id="57" name="Прямоугольник 56"/>
              <p:cNvSpPr/>
              <p:nvPr/>
            </p:nvSpPr>
            <p:spPr>
              <a:xfrm>
                <a:off x="605884" y="3391001"/>
                <a:ext cx="1616879" cy="60016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1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инвестиционных</a:t>
                </a:r>
                <a:endParaRPr lang="en-US" sz="1100" dirty="0"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  <a:p>
                <a:pPr algn="ctr"/>
                <a:r>
                  <a:rPr lang="ru-RU" sz="11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проектов</a:t>
                </a:r>
              </a:p>
              <a:p>
                <a:pPr algn="ctr"/>
                <a:r>
                  <a:rPr lang="ru-RU" sz="11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реализуется</a:t>
                </a:r>
                <a:endParaRPr lang="en-US" sz="1100" dirty="0"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sp>
        <p:nvSpPr>
          <p:cNvPr id="95" name="TextBox 94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268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27717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ОБЗОР ОТРАСЛИ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3707" y="886896"/>
            <a:ext cx="40966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требление пропилена, тыс. т/г</a:t>
            </a:r>
            <a:endParaRPr lang="ru-RU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555220" y="1197368"/>
            <a:ext cx="4274452" cy="1071559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/>
              <a:t>Рынок полипропилена характеризуется как динамично развивающийся </a:t>
            </a:r>
            <a:r>
              <a:rPr lang="en-US" sz="1050" dirty="0"/>
              <a:t>AGGR</a:t>
            </a:r>
            <a:r>
              <a:rPr lang="ru-RU" sz="400" dirty="0"/>
              <a:t>2011-2015</a:t>
            </a:r>
            <a:r>
              <a:rPr lang="en-US" sz="1050" dirty="0"/>
              <a:t> – 8%</a:t>
            </a:r>
            <a:endParaRPr lang="ru-RU" sz="105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/>
              <a:t>Запуск новых производств полипропилена в 2013 г. ( в том числе Тобольск-Полимер производительностью 500 </a:t>
            </a:r>
            <a:r>
              <a:rPr lang="ru-RU" sz="1050" dirty="0" err="1"/>
              <a:t>тыс.т</a:t>
            </a:r>
            <a:r>
              <a:rPr lang="ru-RU" sz="1050" dirty="0"/>
              <a:t>./г) и выход на мощности в 2015 г. способствовал росту рынка потребления 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555219" y="2245970"/>
            <a:ext cx="4274452" cy="1494268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Дефицит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ощностей по производству  полиэтилена высокой плотности (ПЭВП) и линейного полиэтилена низкой плотности (ЛПЭНП) в РФ ограничивает развитие потребления данных типов полиэтилена, которые занимают долю более 70% от общего потребления ПЭ</a:t>
            </a:r>
          </a:p>
          <a:p>
            <a:pPr marL="176213" indent="-176213" algn="just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пуск ЗСНХ позволит покрыть неудовлетворенный спрос ПЭВП и ЛПЭНП и даст импульс к развитию переработки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14325" y="3684495"/>
            <a:ext cx="37442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требление полиолефинов в РФ, тыс. т/г</a:t>
            </a:r>
            <a:endParaRPr lang="ru-RU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55221" y="814165"/>
            <a:ext cx="4274452" cy="369929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ЦЕЛЕСООБРАЗНОСТЬ РЕАЛИЗАЦИИ ПРОЕКТ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9517" y="981074"/>
            <a:ext cx="279961" cy="279961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706" y="1321026"/>
            <a:ext cx="4204259" cy="213510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4325" y="4258153"/>
            <a:ext cx="4297805" cy="2224652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4555219" y="4272010"/>
            <a:ext cx="4274452" cy="2210795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>
              <a:spcBef>
                <a:spcPts val="600"/>
              </a:spcBef>
            </a:pPr>
            <a:r>
              <a:rPr lang="ru-RU" sz="1050" dirty="0"/>
              <a:t>С конца </a:t>
            </a:r>
            <a:r>
              <a:rPr lang="ru-RU" sz="1050" dirty="0" smtClean="0"/>
              <a:t>февраля 2020 г. </a:t>
            </a:r>
            <a:r>
              <a:rPr lang="ru-RU" sz="1050" dirty="0"/>
              <a:t>спрос на полиэтилен высокого давления (ПВД) на российском рынке ощутимо вырос, начался постепенный рост цен. На прошлой неделе ограниченное предложение у ряда продавцов привело к наиболее ощутимому росту цен за последние несколько недель. После затяжного периода профицита, который отмечался в октябре - январе, к февралю текущего года российским производителям удалось сбалансировать внутренний рынок ПВД, в том числе и за счет роста экспортных продаж. С середины прошлого месяца избыток полиэтилена на рынке исчез, а цены </a:t>
            </a:r>
            <a:r>
              <a:rPr lang="ru-RU" sz="1050" dirty="0" smtClean="0"/>
              <a:t>начали расти</a:t>
            </a:r>
            <a:r>
              <a:rPr lang="ru-RU" sz="1050" dirty="0"/>
              <a:t>. В марте спрос ощутимо вырос за счет ранней весны в ряде регионов, и на второй неделе месяца часть продавцов сообщили, что уже распродали все свои объемы ПВД. Как следствие, цены у выросли за неделю по некоторым позициям полиэтилена на 2,000-4,000 руб. за тонну.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555220" y="3888808"/>
            <a:ext cx="4274452" cy="369929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АНАЛИЗ ЦЕН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074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848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ПРЕДЛОЖЕНИЕ  ИНВЕСТОРУ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495470" y="886896"/>
            <a:ext cx="2143536" cy="10341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rgbClr val="820000"/>
                </a:solidFill>
              </a:rPr>
              <a:t>150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млн руб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потребность в финансировании</a:t>
            </a:r>
            <a:endParaRPr lang="en-US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проект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14326" y="4843647"/>
            <a:ext cx="8505824" cy="1063466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едоставление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редита в объеме </a:t>
            </a: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05 млн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ублей на </a:t>
            </a: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0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лет под не более </a:t>
            </a: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8,5%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довых в рублях, с отсрочкой выплаты суммы основного долга на 24 месяца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14325" y="4787588"/>
            <a:ext cx="8505828" cy="405012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УСЛОВИЯ </a:t>
            </a:r>
            <a:r>
              <a:rPr lang="ru-RU" sz="1200" b="1" dirty="0" smtClean="0">
                <a:solidFill>
                  <a:schemeClr val="bg1"/>
                </a:solidFill>
              </a:rPr>
              <a:t>ФИНАНСИРОВАНИЯ ПРОЕКТ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725" y="4819391"/>
            <a:ext cx="341406" cy="341406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2752271" y="2490630"/>
            <a:ext cx="2018501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4,9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лет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простой срок окупаемости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 (PBP)</a:t>
            </a:r>
            <a:endParaRPr lang="ru-RU" sz="11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752271" y="3578205"/>
            <a:ext cx="2295821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6,4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года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дисконтированный срок окупаемости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14325" y="3591052"/>
            <a:ext cx="2206053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27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%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внутренняя норма доходности (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IRR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14325" y="2504480"/>
            <a:ext cx="2331087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112,42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млн руб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чистая приведенная стоимость (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NPV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7131911" y="2504480"/>
            <a:ext cx="838691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5,0</a:t>
            </a:r>
            <a:endParaRPr lang="ru-RU" sz="44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EV/EBITDA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466725" y="4604807"/>
            <a:ext cx="8353425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5235758" y="2491800"/>
            <a:ext cx="1632178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90000"/>
              </a:lnSpc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39,4</a:t>
            </a:r>
            <a:r>
              <a:rPr lang="ru-RU" sz="1200" b="1" dirty="0" smtClean="0">
                <a:solidFill>
                  <a:srgbClr val="526DB0">
                    <a:lumMod val="50000"/>
                  </a:srgbClr>
                </a:solidFill>
              </a:rPr>
              <a:t>млн </a:t>
            </a:r>
            <a:r>
              <a:rPr lang="ru-RU" sz="1200" b="1" dirty="0">
                <a:solidFill>
                  <a:srgbClr val="526DB0">
                    <a:lumMod val="50000"/>
                  </a:srgbClr>
                </a:solidFill>
              </a:rPr>
              <a:t>руб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EBITDA</a:t>
            </a:r>
            <a:endParaRPr lang="ru-RU" sz="11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205107" y="3577931"/>
            <a:ext cx="1127232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52,3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EBITDA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, %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7131911" y="3593380"/>
            <a:ext cx="1111202" cy="8679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1,33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200" b="1" dirty="0">
                <a:solidFill>
                  <a:schemeClr val="accent3">
                    <a:lumMod val="50000"/>
                  </a:schemeClr>
                </a:solidFill>
              </a:rPr>
              <a:t>PI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450249" y="2257023"/>
            <a:ext cx="8353425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683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1871117"/>
              </p:ext>
            </p:extLst>
          </p:nvPr>
        </p:nvGraphicFramePr>
        <p:xfrm>
          <a:off x="1048939" y="773219"/>
          <a:ext cx="6860027" cy="5827587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483168"/>
                <a:gridCol w="1358490"/>
                <a:gridCol w="1424831"/>
                <a:gridCol w="1271457"/>
                <a:gridCol w="1322081"/>
              </a:tblGrid>
              <a:tr h="583570"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/>
                        <a:t>Налог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/>
                        <a:t>Реестр  инвестиционных проектов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ЭЗ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ИК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ИП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142177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3</a:t>
                      </a:r>
                      <a:r>
                        <a:rPr lang="ru-RU" sz="11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(</a:t>
                      </a:r>
                      <a:r>
                        <a:rPr lang="ru-RU" sz="11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2 %</a:t>
                      </a:r>
                      <a:r>
                        <a:rPr lang="ru-RU" sz="1100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</a:t>
                      </a: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с 2025 года)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7F4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3</a:t>
                      </a:r>
                      <a:r>
                        <a:rPr lang="ru-RU" sz="11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(</a:t>
                      </a:r>
                      <a:r>
                        <a:rPr lang="ru-RU" sz="11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2 % </a:t>
                      </a: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с 2025 года)</a:t>
                      </a:r>
                      <a:endParaRPr lang="ru-RU" sz="1100" dirty="0" smtClean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7F4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 %</a:t>
                      </a:r>
                      <a:endParaRPr lang="ru-RU" sz="11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7F4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 %</a:t>
                      </a:r>
                    </a:p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до 01.01.2027 либо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                          до 01.01.2029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в зависимости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от объема инвестиций</a:t>
                      </a:r>
                      <a:endParaRPr lang="ru-RU" sz="1100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7F4">
                        <a:alpha val="20000"/>
                      </a:srgbClr>
                    </a:solidFill>
                  </a:tcPr>
                </a:tc>
              </a:tr>
              <a:tr h="132282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13,5 %*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на срок от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1 до 4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 лет в зависимости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от объема инвестиций</a:t>
                      </a: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*действует до</a:t>
                      </a: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 01.01.2023 г.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с 1-го по 10-й годы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9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с 11-го по 15-й годы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400" dirty="0" smtClean="0">
                        <a:effectLst/>
                        <a:latin typeface="+mn-lt"/>
                      </a:endParaRP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13,5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с 16-го года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800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10 %</a:t>
                      </a:r>
                      <a:endParaRPr lang="ru-RU" sz="1100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</a:t>
                      </a:r>
                      <a:endParaRPr lang="ru-RU" sz="11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13,5 %</a:t>
                      </a:r>
                      <a:endParaRPr lang="ru-RU" sz="800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до 01.01.2027  либо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                          до 01.01.2029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зависимости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от объема инвестиций</a:t>
                      </a:r>
                      <a:endParaRPr lang="ru-RU" sz="1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</a:tr>
              <a:tr h="117012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освобождение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от 1 до 3 лет в зависимости от объема инвестиций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в течение 10 лет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освобождение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от 1 до 3 лет в зависимости от объема инвестиций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освобождение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от 1 до 3 лет в зависимости от объема инвестиций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</a:tr>
              <a:tr h="75121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для отдельных видов транспорта в течение 10 лет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i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i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</a:tr>
              <a:tr h="578091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в течение 5 лет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i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i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</a:tr>
            </a:tbl>
          </a:graphicData>
        </a:graphic>
      </p:graphicFrame>
      <p:sp>
        <p:nvSpPr>
          <p:cNvPr id="19" name="Скругленный прямоугольник 18"/>
          <p:cNvSpPr/>
          <p:nvPr/>
        </p:nvSpPr>
        <p:spPr>
          <a:xfrm>
            <a:off x="1133779" y="4161790"/>
            <a:ext cx="1352768" cy="10550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лог на имущество организаций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133779" y="5280532"/>
            <a:ext cx="1352768" cy="692587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ранспортный налог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114019" y="1513178"/>
            <a:ext cx="498950" cy="241147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лог на прибыль организаций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680018" y="2813091"/>
            <a:ext cx="786769" cy="1197966"/>
          </a:xfrm>
          <a:prstGeom prst="roundRect">
            <a:avLst/>
          </a:prstGeom>
          <a:solidFill>
            <a:srgbClr val="ECFBFE"/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гиональный бюджет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1699778" y="1471607"/>
            <a:ext cx="786769" cy="1190751"/>
          </a:xfrm>
          <a:prstGeom prst="roundRect">
            <a:avLst/>
          </a:prstGeom>
          <a:solidFill>
            <a:srgbClr val="ECFBFE"/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едеральный бюджет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1133779" y="6036792"/>
            <a:ext cx="1352768" cy="51737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емельный налог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314324" y="172522"/>
            <a:ext cx="5075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МЕРЫ ГОСУДАРСТВЕННОЙ ПОДДЕРЖКИ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2626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2933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КОНТАКТ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-7" y="2477711"/>
            <a:ext cx="9144003" cy="2343150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-3" y="2477711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820861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0289746"/>
              </p:ext>
            </p:extLst>
          </p:nvPr>
        </p:nvGraphicFramePr>
        <p:xfrm>
          <a:off x="2089439" y="2681538"/>
          <a:ext cx="6610349" cy="1968116"/>
        </p:xfrm>
        <a:graphic>
          <a:graphicData uri="http://schemas.openxmlformats.org/drawingml/2006/table">
            <a:tbl>
              <a:tblPr bandRow="1">
                <a:tableStyleId>{8FD4443E-F989-4FC4-A0C8-D5A2AF1F390B}</a:tableStyleId>
              </a:tblPr>
              <a:tblGrid>
                <a:gridCol w="20002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61009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2642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Инициатор проекта</a:t>
                      </a:r>
                      <a:endParaRPr lang="ru-RU" sz="1400" b="1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108000" marT="36000" marB="36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лужская</a:t>
                      </a:r>
                      <a:r>
                        <a:rPr lang="ru-RU" sz="14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область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72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057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Контактные  данные</a:t>
                      </a:r>
                      <a:endParaRPr lang="ru-RU" sz="1400" b="1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108000" marT="36000" marB="36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Гапонова Екатерина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Руководитель</a:t>
                      </a:r>
                      <a:r>
                        <a:rPr lang="ru-RU" sz="14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направления по работе с инвесторами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ГАУ «АРРКО»</a:t>
                      </a:r>
                      <a:endParaRPr lang="ru-RU" sz="140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Тел</a:t>
                      </a:r>
                      <a:r>
                        <a:rPr lang="ru-RU" sz="1400" kern="12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en-US" sz="1400" kern="12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ru-RU" sz="1400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7 (915) 892 22 02</a:t>
                      </a:r>
                      <a:endParaRPr lang="ru-RU" sz="1400" kern="1200" baseline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e</a:t>
                      </a: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-</a:t>
                      </a: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mail</a:t>
                      </a:r>
                      <a:r>
                        <a:rPr lang="en-US" sz="1400" kern="12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 </a:t>
                      </a:r>
                      <a:r>
                        <a:rPr lang="en-AU" sz="1400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g@arrko.ru</a:t>
                      </a:r>
                      <a:endParaRPr lang="ru-RU" sz="1400" kern="1200" baseline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AU" sz="140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vestkaluga.com</a:t>
                      </a:r>
                      <a:r>
                        <a:rPr lang="en-AU" sz="1400" dirty="0" smtClean="0"/>
                        <a:t>/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72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589" y="2919190"/>
            <a:ext cx="890810" cy="89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823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XKasBbkUyno4HtC4UC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1GIfq90EabiZXEcJwu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kGiSfSmE6HwKvhxclw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YEblKkEWxSmMS1W1X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itTwFdsUiUPjOBDWSs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y6iNPMJEmiEr0_qtNK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XSSwCU00a7SIqFp7nP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LFdjAkA0e6XovsX12j.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AU3dKQdEasAUhuNBfo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tkTVwy30.hVjvC_eKG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XAl0Oc0qjH.QnI_gqG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LnDoZayUqGUoTNWF91K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SBQToDfk27MU0WjAkN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hluksM8UG786FXIhVn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c5sJPnnEeWrhihNCk2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SZPHYcwkGFHotVPwAh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5f8nwfcEGhLGSoZwtM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aS.Ww2zEKOmsK2P2XG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nnHjHjjECkHby5t39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WM1rB.ckyQzBM8RKi6Eg"/>
</p:tagLst>
</file>

<file path=ppt/theme/theme1.xml><?xml version="1.0" encoding="utf-8"?>
<a:theme xmlns:a="http://schemas.openxmlformats.org/drawingml/2006/main" name="Тема Office">
  <a:themeElements>
    <a:clrScheme name="Главная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HeliosCond">
      <a:majorFont>
        <a:latin typeface="HeliosCond"/>
        <a:ea typeface=""/>
        <a:cs typeface=""/>
      </a:majorFont>
      <a:minorFont>
        <a:latin typeface="HeliosCond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3320</TotalTime>
  <Words>893</Words>
  <Application>Microsoft Office PowerPoint</Application>
  <PresentationFormat>Экран (4:3)</PresentationFormat>
  <Paragraphs>210</Paragraphs>
  <Slides>8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6" baseType="lpstr">
      <vt:lpstr>Arial</vt:lpstr>
      <vt:lpstr>_Entypo</vt:lpstr>
      <vt:lpstr>Calibri</vt:lpstr>
      <vt:lpstr>Myriad Pro Cond</vt:lpstr>
      <vt:lpstr>Times New Roman</vt:lpstr>
      <vt:lpstr>Tahoma</vt:lpstr>
      <vt:lpstr>HeliosCond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</dc:creator>
  <cp:lastModifiedBy>Симачев Дмитрий Александрович</cp:lastModifiedBy>
  <cp:revision>168</cp:revision>
  <cp:lastPrinted>2020-03-12T13:36:58Z</cp:lastPrinted>
  <dcterms:created xsi:type="dcterms:W3CDTF">2020-02-13T13:38:48Z</dcterms:created>
  <dcterms:modified xsi:type="dcterms:W3CDTF">2020-03-27T11:19:13Z</dcterms:modified>
</cp:coreProperties>
</file>